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5"/>
    <p:sldMasterId id="2147483690" r:id="rId6"/>
  </p:sldMasterIdLst>
  <p:notesMasterIdLst>
    <p:notesMasterId r:id="rId9"/>
  </p:notesMasterIdLst>
  <p:handoutMasterIdLst>
    <p:handoutMasterId r:id="rId10"/>
  </p:handoutMasterIdLst>
  <p:sldIdLst>
    <p:sldId id="386" r:id="rId7"/>
    <p:sldId id="363" r:id="rId8"/>
  </p:sldIdLst>
  <p:sldSz cx="12192000" cy="6858000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00A59B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0B8A0A-CD65-4CD0-B39E-507D15DA1CD3}" v="30" dt="2019-11-07T08:48:02.1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8" autoAdjust="0"/>
    <p:restoredTop sz="94259" autoAdjust="0"/>
  </p:normalViewPr>
  <p:slideViewPr>
    <p:cSldViewPr snapToGrid="0">
      <p:cViewPr varScale="1">
        <p:scale>
          <a:sx n="60" d="100"/>
          <a:sy n="60" d="100"/>
        </p:scale>
        <p:origin x="728" y="68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1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20-12-2021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20-12-2021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12.jp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mailto:PTPortingDesk@colt.net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www.colt.net/porting-information/" TargetMode="External"/><Relationship Id="rId10" Type="http://schemas.openxmlformats.org/officeDocument/2006/relationships/image" Target="../media/image16.png"/><Relationship Id="rId4" Type="http://schemas.openxmlformats.org/officeDocument/2006/relationships/hyperlink" Target="http://www.colt.net/porting-information" TargetMode="Externa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>
                    <a:lumMod val="95000"/>
                  </a:schemeClr>
                </a:solidFill>
              </a:rPr>
              <a:t>Porting Information - Portugal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5279346"/>
              </p:ext>
            </p:extLst>
          </p:nvPr>
        </p:nvGraphicFramePr>
        <p:xfrm>
          <a:off x="636090" y="725807"/>
          <a:ext cx="11555906" cy="583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92999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762907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35426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2614493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2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 business Hours</a:t>
                      </a:r>
                      <a:r>
                        <a:rPr lang="en-GB" sz="12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8:00–11:00, 12:00–15:00, </a:t>
                      </a:r>
                      <a:endParaRPr lang="en-US" sz="1200" dirty="0"/>
                    </a:p>
                    <a:p>
                      <a:pPr lvl="0">
                        <a:spcBef>
                          <a:spcPts val="600"/>
                        </a:spcBef>
                        <a:buNone/>
                      </a:pPr>
                      <a:r>
                        <a:rPr lang="en-US" sz="12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6:00-19:00 &amp; 20:00-23:00 GMT (Mon-Fri)</a:t>
                      </a:r>
                      <a:endParaRPr lang="en-US" sz="1200" dirty="0"/>
                    </a:p>
                    <a:p>
                      <a:pPr marL="0" marR="0" lvl="0" indent="0" algn="l" rtl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GB" sz="12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 business Hours</a:t>
                      </a:r>
                      <a:r>
                        <a:rPr lang="en-GB" sz="12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 </a:t>
                      </a:r>
                      <a:r>
                        <a:rPr lang="en-US" sz="1200" b="0" i="0" u="none" strike="noStrike" baseline="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</a:rPr>
                        <a:t>08:00–11:00, 12:00–15:00, </a:t>
                      </a:r>
                      <a:endParaRPr lang="en-US" sz="1200" b="0" i="0" u="none" strike="noStrike" baseline="0" noProof="0" dirty="0">
                        <a:latin typeface="Arial"/>
                      </a:endParaRPr>
                    </a:p>
                    <a:p>
                      <a:pPr lvl="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baseline="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</a:rPr>
                        <a:t>16:00-19:00 &amp; 20:00-23:00 GMT</a:t>
                      </a:r>
                      <a:r>
                        <a:rPr lang="en-US" sz="12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 (Mon-Fri)</a:t>
                      </a:r>
                    </a:p>
                    <a:p>
                      <a:pPr lvl="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2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  <a:p>
                      <a:pPr lvl="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15 working days (SIP Trunking &amp; Voice Line)</a:t>
                      </a:r>
                    </a:p>
                    <a:p>
                      <a:pPr lvl="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0 working days (Number Hosting)</a:t>
                      </a:r>
                    </a:p>
                    <a:p>
                      <a:pPr lvl="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10 working days</a:t>
                      </a:r>
                    </a:p>
                    <a:p>
                      <a:pPr lvl="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200" b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Reference</a:t>
                      </a:r>
                      <a:r>
                        <a:rPr lang="en-GB" sz="12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2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Matrix (Excel) </a:t>
                      </a:r>
                      <a:r>
                        <a:rPr lang="en-GB" sz="12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for lead times</a:t>
                      </a: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</a:rPr>
                        <a:t>at </a:t>
                      </a:r>
                      <a:r>
                        <a:rPr lang="en-GB" sz="1200" b="0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  <a:hlinkClick r:id="rId4"/>
                        </a:rPr>
                        <a:t>www.colt.net/porting-information</a:t>
                      </a:r>
                      <a:r>
                        <a:rPr lang="en-GB" sz="1200" b="0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  <a:r>
                        <a:rPr lang="en-GB" sz="12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</a:rPr>
                        <a:t>under customer facing resources</a:t>
                      </a:r>
                    </a:p>
                    <a:p>
                      <a:pPr lvl="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2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Form</a:t>
                      </a:r>
                      <a:r>
                        <a:rPr lang="en-GB" sz="12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  &amp;</a:t>
                      </a:r>
                      <a:endParaRPr lang="en-US" sz="1200" dirty="0"/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2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Geo: </a:t>
                      </a:r>
                      <a:r>
                        <a:rPr lang="en-GB" sz="1200" b="0" i="0" u="none" strike="noStrike" kern="1200" noProof="0" dirty="0">
                          <a:solidFill>
                            <a:schemeClr val="accent2"/>
                          </a:solidFill>
                          <a:latin typeface="Arial"/>
                        </a:rPr>
                        <a:t>Certificate of Registry w copy of ID card or Power of Attorney</a:t>
                      </a:r>
                      <a:endParaRPr lang="en-GB" sz="1200" kern="1200" dirty="0">
                        <a:solidFill>
                          <a:schemeClr val="accent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2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Non-Geo: Certificate of Registry w copy of ID card or Power of Attorney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2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2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A copy of Certidão de Registo Comercial (commercial registry certificate) and ID card for signature validation or a Declaration of Power of Attorney – proving that the signature is legally recognised and that the person or persons who signs has the power to act according to the Certidão de Registo Comercial</a:t>
                      </a:r>
                    </a:p>
                    <a:p>
                      <a:endParaRPr lang="en-GB" sz="1200" b="0" i="0" u="none" strike="noStrike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b="0" i="0" u="none" strike="noStrike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The porting form can be digitally signed (advanced electronic signature); in case the document is hand signed please send the original signed porting form to our Lisbon office: Elsa Abreu, Colt Technology Services, Estrada da </a:t>
                      </a:r>
                      <a:r>
                        <a:rPr lang="en-GB" sz="1200" b="0" i="0" u="none" strike="noStrike" kern="1200" dirty="0" err="1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Outurela</a:t>
                      </a:r>
                      <a:r>
                        <a:rPr lang="en-GB" sz="1200" b="0" i="0" u="none" strike="noStrike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, 118 - Parque </a:t>
                      </a:r>
                      <a:r>
                        <a:rPr lang="en-GB" sz="1200" b="0" i="0" u="none" strike="noStrike" kern="1200" dirty="0" err="1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Holanda</a:t>
                      </a:r>
                      <a:r>
                        <a:rPr lang="en-GB" sz="1200" b="0" i="0" u="none" strike="noStrike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200" b="0" i="0" u="none" strike="noStrike" kern="1200" dirty="0" err="1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Edifício</a:t>
                      </a:r>
                      <a:r>
                        <a:rPr lang="en-GB" sz="1200" b="0" i="0" u="none" strike="noStrike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B1, 2790-114 </a:t>
                      </a:r>
                      <a:r>
                        <a:rPr lang="en-GB" sz="1200" b="0" i="0" u="none" strike="noStrike" kern="1200" dirty="0" err="1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Carnaxide</a:t>
                      </a:r>
                      <a:r>
                        <a:rPr lang="en-GB" sz="1200" b="0" i="0" u="none" strike="noStrike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, Portugal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4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5426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 working days</a:t>
                      </a:r>
                      <a:endParaRPr lang="en-GB" sz="1400" b="0" baseline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0" baseline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All carriers that are connected to </a:t>
                      </a:r>
                      <a:r>
                        <a:rPr lang="en-GB" sz="1400" b="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abil</a:t>
                      </a:r>
                      <a:br>
                        <a:rPr lang="en-GB" sz="1400" b="0" dirty="0"/>
                      </a:b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All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carriers that are connected to </a:t>
                      </a:r>
                      <a:r>
                        <a:rPr lang="en-GB" sz="1400" b="0" baseline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abil</a:t>
                      </a:r>
                      <a:endParaRPr lang="en-GB" sz="14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dirty="0"/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https://www.colt.net/porting-information/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i="0" u="none" strike="noStrike" kern="12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</a:rPr>
                        <a:t>Mailbox: 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latin typeface="+mn-lt"/>
                          <a:hlinkClick r:id="rId6"/>
                        </a:rPr>
                        <a:t>PTLisPortabil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hlinkClick r:id="rId6"/>
                        </a:rPr>
                        <a:t>@colt.net</a:t>
                      </a:r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4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rdering</a:t>
                      </a: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ustomers)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F Number: </a:t>
                      </a:r>
                      <a:r>
                        <a:rPr lang="en-GB" sz="1400" b="0" i="0" u="none" strike="noStrike" kern="1200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</a:rPr>
                        <a:t>+351 800780554 </a:t>
                      </a:r>
                      <a:endParaRPr lang="en-GB" sz="1400" kern="1200" baseline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761" y="4153815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54" y="920923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36" y="2395692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0" y="4396338"/>
            <a:ext cx="49159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54" y="5421991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361" y="1071754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361" y="3601365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3257" y="5237375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5bdb67a-68dc-4b72-be68-a086d460c31f">DHQ4KNS6T2M2-2111369996-86</_dlc_DocId>
    <_dlc_DocIdUrl xmlns="85bdb67a-68dc-4b72-be68-a086d460c31f">
      <Url>https://coltinternal.sharepoint.com/sites/pt/PortingInformation/_layouts/15/DocIdRedir.aspx?ID=DHQ4KNS6T2M2-2111369996-86</Url>
      <Description>DHQ4KNS6T2M2-2111369996-86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394DB821ADB47B1D0005AAB7277E1" ma:contentTypeVersion="2" ma:contentTypeDescription="Create a new document." ma:contentTypeScope="" ma:versionID="f222e6db990edb891d71499416976f38">
  <xsd:schema xmlns:xsd="http://www.w3.org/2001/XMLSchema" xmlns:xs="http://www.w3.org/2001/XMLSchema" xmlns:p="http://schemas.microsoft.com/office/2006/metadata/properties" xmlns:ns2="85bdb67a-68dc-4b72-be68-a086d460c31f" xmlns:ns3="f1d1c7a4-d8f1-45db-9f4e-e74acd9c8e06" targetNamespace="http://schemas.microsoft.com/office/2006/metadata/properties" ma:root="true" ma:fieldsID="4f06f873e2e4370dc8a67dee4d149efc" ns2:_="" ns3:_="">
    <xsd:import namespace="85bdb67a-68dc-4b72-be68-a086d460c31f"/>
    <xsd:import namespace="f1d1c7a4-d8f1-45db-9f4e-e74acd9c8e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bdb67a-68dc-4b72-be68-a086d460c31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1c7a4-d8f1-45db-9f4e-e74acd9c8e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9EDF2E50-5DB1-45E3-82A6-2DB53C3DAEA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F295D28-B5E1-4F13-A3A9-084745CAC9B6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f1d1c7a4-d8f1-45db-9f4e-e74acd9c8e06"/>
    <ds:schemaRef ds:uri="http://purl.org/dc/dcmitype/"/>
    <ds:schemaRef ds:uri="85bdb67a-68dc-4b72-be68-a086d460c31f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5EE1246-0022-4229-AD7D-73A3A6FD0A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bdb67a-68dc-4b72-be68-a086d460c31f"/>
    <ds:schemaRef ds:uri="f1d1c7a4-d8f1-45db-9f4e-e74acd9c8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7C847410-D21A-4860-A83C-DFA6FD3AF682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0</Words>
  <Application>Microsoft Office PowerPoint</Application>
  <PresentationFormat>Widescreen</PresentationFormat>
  <Paragraphs>34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Open Sans</vt:lpstr>
      <vt:lpstr>Oswald</vt:lpstr>
      <vt:lpstr>Arial</vt:lpstr>
      <vt:lpstr>Calibri</vt:lpstr>
      <vt:lpstr>Courier New</vt:lpstr>
      <vt:lpstr>Wingdings</vt:lpstr>
      <vt:lpstr>Corporate template-set COLT</vt:lpstr>
      <vt:lpstr>1_Corporate template-set COLT</vt:lpstr>
      <vt:lpstr>think-cell Slide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Garner, Joseph</cp:lastModifiedBy>
  <cp:revision>532</cp:revision>
  <dcterms:created xsi:type="dcterms:W3CDTF">2017-08-30T16:21:34Z</dcterms:created>
  <dcterms:modified xsi:type="dcterms:W3CDTF">2021-12-20T14:0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4394DB821ADB47B1D0005AAB7277E1</vt:lpwstr>
  </property>
  <property fmtid="{D5CDD505-2E9C-101B-9397-08002B2CF9AE}" pid="3" name="_dlc_DocIdItemGuid">
    <vt:lpwstr>33fcde69-1651-4d4b-b2e5-ec522e2114e1</vt:lpwstr>
  </property>
</Properties>
</file>